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6" r:id="rId2"/>
    <p:sldMasterId id="2147484697" r:id="rId3"/>
    <p:sldMasterId id="2147484716" r:id="rId4"/>
    <p:sldMasterId id="2147484719" r:id="rId5"/>
    <p:sldMasterId id="2147484721" r:id="rId6"/>
    <p:sldMasterId id="2147484723" r:id="rId7"/>
    <p:sldMasterId id="2147484725" r:id="rId8"/>
  </p:sldMasterIdLst>
  <p:notesMasterIdLst>
    <p:notesMasterId r:id="rId30"/>
  </p:notesMasterIdLst>
  <p:handoutMasterIdLst>
    <p:handoutMasterId r:id="rId31"/>
  </p:handoutMasterIdLst>
  <p:sldIdLst>
    <p:sldId id="289" r:id="rId9"/>
    <p:sldId id="293" r:id="rId10"/>
    <p:sldId id="332" r:id="rId11"/>
    <p:sldId id="330" r:id="rId12"/>
    <p:sldId id="348" r:id="rId13"/>
    <p:sldId id="350" r:id="rId14"/>
    <p:sldId id="349" r:id="rId15"/>
    <p:sldId id="352" r:id="rId16"/>
    <p:sldId id="351" r:id="rId17"/>
    <p:sldId id="354" r:id="rId18"/>
    <p:sldId id="359" r:id="rId19"/>
    <p:sldId id="360" r:id="rId20"/>
    <p:sldId id="361" r:id="rId21"/>
    <p:sldId id="362" r:id="rId22"/>
    <p:sldId id="355" r:id="rId23"/>
    <p:sldId id="347" r:id="rId24"/>
    <p:sldId id="341" r:id="rId25"/>
    <p:sldId id="358" r:id="rId26"/>
    <p:sldId id="345" r:id="rId27"/>
    <p:sldId id="357" r:id="rId28"/>
    <p:sldId id="346" r:id="rId29"/>
  </p:sldIdLst>
  <p:sldSz cx="9906000" cy="6858000" type="A4"/>
  <p:notesSz cx="6789738" cy="9929813"/>
  <p:defaultTextStyle>
    <a:defPPr>
      <a:defRPr lang="en-US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16">
          <p15:clr>
            <a:srgbClr val="A4A3A4"/>
          </p15:clr>
        </p15:guide>
        <p15:guide id="2" pos="5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202C"/>
    <a:srgbClr val="BABCBE"/>
    <a:srgbClr val="414142"/>
    <a:srgbClr val="1D1D1C"/>
    <a:srgbClr val="D2061F"/>
    <a:srgbClr val="7F7E7E"/>
    <a:srgbClr val="919191"/>
    <a:srgbClr val="010000"/>
    <a:srgbClr val="DF1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320" y="-78"/>
      </p:cViewPr>
      <p:guideLst>
        <p:guide orient="horz" pos="1116"/>
        <p:guide pos="5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4F68F38-B2B5-344E-8F55-ED1472B9E689}" type="datetime1">
              <a:rPr lang="en-US"/>
              <a:pPr>
                <a:defRPr/>
              </a:pPr>
              <a:t>3/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2273FAE-ADC1-0342-A43A-E156212B33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112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2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0A621791-B9AF-7E4E-A821-9ABA9174AB7C}" type="datetime1">
              <a:rPr lang="en-US"/>
              <a:pPr>
                <a:defRPr/>
              </a:pPr>
              <a:t>3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744538"/>
            <a:ext cx="53768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0838" cy="44688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2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3EED532E-92D6-9641-9C5B-0C0C8D0751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2055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744538"/>
            <a:ext cx="5376862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VISING PRESIDENT OF DISRUPTIVE TECHNOLOG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EEDF51-D45E-104E-8FAA-65EF0B62702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776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5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1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49323" y="476672"/>
            <a:ext cx="8208143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791816"/>
            <a:ext cx="8229600" cy="3581400"/>
          </a:xfrm>
        </p:spPr>
        <p:txBody>
          <a:bodyPr>
            <a:noAutofit/>
          </a:bodyPr>
          <a:lstStyle>
            <a:lvl1pPr marL="58493" indent="0">
              <a:spcBef>
                <a:spcPts val="0"/>
              </a:spcBef>
              <a:buNone/>
              <a:defRPr sz="1400" b="0" i="0">
                <a:latin typeface="Arial"/>
                <a:cs typeface="Verdana"/>
              </a:defRPr>
            </a:lvl1pPr>
            <a:lvl2pPr marL="458498" indent="0">
              <a:buNone/>
              <a:defRPr sz="1400" b="0" i="0">
                <a:latin typeface="Arial"/>
                <a:cs typeface="Verdana"/>
              </a:defRPr>
            </a:lvl2pPr>
            <a:lvl3pPr marL="858502" indent="0">
              <a:buNone/>
              <a:defRPr sz="1400" b="0" i="0" baseline="0">
                <a:latin typeface="Arial"/>
                <a:cs typeface="Verdana"/>
              </a:defRPr>
            </a:lvl3pPr>
            <a:lvl4pPr marL="1315649" indent="0">
              <a:buNone/>
              <a:defRPr sz="1400">
                <a:latin typeface="Helvetica Neue"/>
                <a:cs typeface="Helvetica Neue"/>
              </a:defRPr>
            </a:lvl4pPr>
            <a:lvl5pPr marL="1772798" indent="0">
              <a:buNone/>
              <a:defRPr sz="1400" b="0" i="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2"/>
            <a:r>
              <a:rPr lang="en-GB" noProof="0" dirty="0"/>
              <a:t>	      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Swiss 72 1 BT" charset="0"/>
              </a:defRPr>
            </a:lvl1pPr>
          </a:lstStyle>
          <a:p>
            <a:pPr>
              <a:defRPr/>
            </a:pPr>
            <a:fld id="{8893A750-5C84-0048-BDB0-FD81C2E1C7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006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5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Block arrow"/>
          <p:cNvSpPr>
            <a:spLocks noChangeArrowheads="1"/>
          </p:cNvSpPr>
          <p:nvPr userDrawn="1"/>
        </p:nvSpPr>
        <p:spPr bwMode="gray">
          <a:xfrm rot="19800000">
            <a:off x="3109924" y="2451100"/>
            <a:ext cx="1462087" cy="312738"/>
          </a:xfrm>
          <a:prstGeom prst="rightArrow">
            <a:avLst>
              <a:gd name="adj1" fmla="val 50000"/>
              <a:gd name="adj2" fmla="val 32293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Block arrow"/>
          <p:cNvSpPr>
            <a:spLocks noChangeArrowheads="1"/>
          </p:cNvSpPr>
          <p:nvPr userDrawn="1"/>
        </p:nvSpPr>
        <p:spPr bwMode="gray">
          <a:xfrm>
            <a:off x="3297238" y="3619507"/>
            <a:ext cx="1281112" cy="314325"/>
          </a:xfrm>
          <a:prstGeom prst="rightArrow">
            <a:avLst>
              <a:gd name="adj1" fmla="val 50000"/>
              <a:gd name="adj2" fmla="val 32285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Block arrow"/>
          <p:cNvSpPr>
            <a:spLocks noChangeArrowheads="1"/>
          </p:cNvSpPr>
          <p:nvPr userDrawn="1"/>
        </p:nvSpPr>
        <p:spPr bwMode="gray">
          <a:xfrm rot="1800000">
            <a:off x="3151188" y="4760933"/>
            <a:ext cx="1460500" cy="312737"/>
          </a:xfrm>
          <a:prstGeom prst="rightArrow">
            <a:avLst>
              <a:gd name="adj1" fmla="val 50000"/>
              <a:gd name="adj2" fmla="val 32301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pic>
        <p:nvPicPr>
          <p:cNvPr id="13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2"/>
          <p:cNvSpPr>
            <a:spLocks noGrp="1"/>
          </p:cNvSpPr>
          <p:nvPr>
            <p:ph type="body" idx="14"/>
          </p:nvPr>
        </p:nvSpPr>
        <p:spPr>
          <a:xfrm>
            <a:off x="4664969" y="1556792"/>
            <a:ext cx="2878832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/>
          </p:nvPr>
        </p:nvSpPr>
        <p:spPr>
          <a:xfrm>
            <a:off x="4664975" y="3212976"/>
            <a:ext cx="2878831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6"/>
          </p:nvPr>
        </p:nvSpPr>
        <p:spPr>
          <a:xfrm>
            <a:off x="4664975" y="4869160"/>
            <a:ext cx="2878831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990600" y="2971800"/>
            <a:ext cx="1872208" cy="1512168"/>
          </a:xfrm>
          <a:prstGeom prst="roundRect">
            <a:avLst/>
          </a:prstGeom>
          <a:solidFill>
            <a:srgbClr val="CD202C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82F1448-7CA2-DB41-AB48-1DA8D6DECB1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1322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9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800620"/>
            <a:ext cx="5943600" cy="56673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000" b="0">
                <a:solidFill>
                  <a:scrgbClr r="0" g="0" b="0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914400"/>
            <a:ext cx="5943600" cy="4114800"/>
          </a:xfrm>
        </p:spPr>
        <p:txBody>
          <a:bodyPr rtlCol="0">
            <a:noAutofit/>
          </a:bodyPr>
          <a:lstStyle>
            <a:lvl1pPr marL="0" indent="0">
              <a:buNone/>
              <a:defRPr sz="2800"/>
            </a:lvl1pPr>
            <a:lvl2pPr marL="457148" indent="0">
              <a:buNone/>
              <a:defRPr sz="2800"/>
            </a:lvl2pPr>
            <a:lvl3pPr marL="914296" indent="0">
              <a:buNone/>
              <a:defRPr sz="2300"/>
            </a:lvl3pPr>
            <a:lvl4pPr marL="1371445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pPr lvl="0"/>
            <a:r>
              <a:rPr lang="en-GB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5486420"/>
            <a:ext cx="5943600" cy="581025"/>
          </a:xfr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Arial"/>
                <a:cs typeface="Arial"/>
              </a:defRPr>
            </a:lvl1pPr>
            <a:lvl2pPr marL="457148" indent="0">
              <a:buNone/>
              <a:defRPr sz="1200"/>
            </a:lvl2pPr>
            <a:lvl3pPr marL="914296" indent="0">
              <a:buNone/>
              <a:defRPr sz="1100"/>
            </a:lvl3pPr>
            <a:lvl4pPr marL="1371445" indent="0">
              <a:buNone/>
              <a:defRPr sz="900"/>
            </a:lvl4pPr>
            <a:lvl5pPr marL="1828592" indent="0">
              <a:buNone/>
              <a:defRPr sz="900"/>
            </a:lvl5pPr>
            <a:lvl6pPr marL="2285740" indent="0">
              <a:buNone/>
              <a:defRPr sz="900"/>
            </a:lvl6pPr>
            <a:lvl7pPr marL="2742888" indent="0">
              <a:buNone/>
              <a:defRPr sz="900"/>
            </a:lvl7pPr>
            <a:lvl8pPr marL="3200036" indent="0">
              <a:buNone/>
              <a:defRPr sz="900"/>
            </a:lvl8pPr>
            <a:lvl9pPr marL="3657184" indent="0">
              <a:buNone/>
              <a:defRPr sz="9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CF667B3-90EE-234A-9DBF-6E6EDDA4C8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3225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833121" y="1772816"/>
            <a:ext cx="2304257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3276601" y="1772816"/>
            <a:ext cx="5867401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6"/>
          </p:nvPr>
        </p:nvSpPr>
        <p:spPr>
          <a:xfrm>
            <a:off x="838204" y="2819400"/>
            <a:ext cx="2304257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3276600" y="2819400"/>
            <a:ext cx="5872484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8"/>
          </p:nvPr>
        </p:nvSpPr>
        <p:spPr>
          <a:xfrm>
            <a:off x="838204" y="3886200"/>
            <a:ext cx="2304257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3276600" y="3886200"/>
            <a:ext cx="5872484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A74B-5B1C-6B40-AA90-EB7F895F24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279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833121" y="1772816"/>
            <a:ext cx="2304257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5"/>
          </p:nvPr>
        </p:nvSpPr>
        <p:spPr>
          <a:xfrm>
            <a:off x="3276601" y="1772816"/>
            <a:ext cx="5867401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6"/>
          </p:nvPr>
        </p:nvSpPr>
        <p:spPr>
          <a:xfrm>
            <a:off x="838204" y="2667000"/>
            <a:ext cx="2304257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3281684" y="2667000"/>
            <a:ext cx="5867401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8"/>
          </p:nvPr>
        </p:nvSpPr>
        <p:spPr>
          <a:xfrm>
            <a:off x="838204" y="3581400"/>
            <a:ext cx="2304257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19"/>
          </p:nvPr>
        </p:nvSpPr>
        <p:spPr>
          <a:xfrm>
            <a:off x="3281684" y="3581400"/>
            <a:ext cx="5867401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0"/>
          </p:nvPr>
        </p:nvSpPr>
        <p:spPr>
          <a:xfrm>
            <a:off x="838204" y="4495800"/>
            <a:ext cx="2304257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1"/>
          </p:nvPr>
        </p:nvSpPr>
        <p:spPr>
          <a:xfrm>
            <a:off x="3281684" y="4495800"/>
            <a:ext cx="5867401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F2A542-C784-5E43-B364-D4CA67C522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9130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849288" y="1484784"/>
            <a:ext cx="2808312" cy="792088"/>
          </a:xfrm>
          <a:prstGeom prst="homePlate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/>
          </p:nvPr>
        </p:nvSpPr>
        <p:spPr>
          <a:xfrm>
            <a:off x="3440831" y="1484784"/>
            <a:ext cx="2879429" cy="792088"/>
          </a:xfrm>
          <a:prstGeom prst="chevron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6096892" y="1484784"/>
            <a:ext cx="2807420" cy="792088"/>
          </a:xfrm>
          <a:prstGeom prst="chevron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849288" y="2276872"/>
            <a:ext cx="2369514" cy="3671491"/>
          </a:xfrm>
        </p:spPr>
        <p:txBody>
          <a:bodyPr>
            <a:noAutofit/>
          </a:bodyPr>
          <a:lstStyle>
            <a:lvl1pPr marL="180000" indent="-180000">
              <a:buClr>
                <a:srgbClr val="E1202C"/>
              </a:buClr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19"/>
          </p:nvPr>
        </p:nvSpPr>
        <p:spPr>
          <a:xfrm>
            <a:off x="3441134" y="2276872"/>
            <a:ext cx="2519984" cy="3671491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6096000" y="2276872"/>
            <a:ext cx="2448272" cy="3671491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E2D9B2-FA28-3D4B-A4F5-428B0C05430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5420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23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Isosceles Triangle 9"/>
          <p:cNvSpPr/>
          <p:nvPr userDrawn="1"/>
        </p:nvSpPr>
        <p:spPr>
          <a:xfrm rot="5400000">
            <a:off x="3471863" y="3578233"/>
            <a:ext cx="3322638" cy="503237"/>
          </a:xfrm>
          <a:prstGeom prst="triangle">
            <a:avLst/>
          </a:prstGeom>
          <a:solidFill>
            <a:srgbClr val="7F7F7F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3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2"/>
          <p:cNvSpPr>
            <a:spLocks noGrp="1"/>
          </p:cNvSpPr>
          <p:nvPr>
            <p:ph type="body" idx="13"/>
          </p:nvPr>
        </p:nvSpPr>
        <p:spPr>
          <a:xfrm>
            <a:off x="838200" y="1524008"/>
            <a:ext cx="3528392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838200" y="2163764"/>
            <a:ext cx="3528392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5562605" y="1524008"/>
            <a:ext cx="3528392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5562605" y="2163764"/>
            <a:ext cx="3528392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D19B05-7875-6E42-8DD2-982EA2CFA64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270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14"/>
          </p:nvPr>
        </p:nvSpPr>
        <p:spPr>
          <a:xfrm>
            <a:off x="838200" y="1484314"/>
            <a:ext cx="514672" cy="4464050"/>
          </a:xfrm>
        </p:spPr>
        <p:txBody>
          <a:bodyPr vert="vert270">
            <a:noAutofit/>
          </a:bodyPr>
          <a:lstStyle>
            <a:lvl1pPr marL="58493" indent="0" algn="l">
              <a:buFontTx/>
              <a:buNone/>
              <a:defRPr sz="1400" b="0" i="0">
                <a:latin typeface="Arial"/>
                <a:cs typeface="Arial"/>
              </a:defRPr>
            </a:lvl1pPr>
            <a:lvl2pPr>
              <a:defRPr sz="1400">
                <a:latin typeface="Helvetica Neue"/>
                <a:cs typeface="Helvetica Neue"/>
              </a:defRPr>
            </a:lvl2pPr>
            <a:lvl3pPr>
              <a:defRPr sz="1400">
                <a:latin typeface="Helvetica Neue"/>
                <a:cs typeface="Helvetica Neue"/>
              </a:defRPr>
            </a:lvl3pPr>
            <a:lvl4pPr>
              <a:defRPr sz="1400">
                <a:latin typeface="Helvetica Neue"/>
                <a:cs typeface="Helvetica Neue"/>
              </a:defRPr>
            </a:lvl4pPr>
            <a:lvl5pPr>
              <a:defRPr sz="14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5"/>
          </p:nvPr>
        </p:nvSpPr>
        <p:spPr>
          <a:xfrm rot="5400000">
            <a:off x="2608335" y="460904"/>
            <a:ext cx="4463579" cy="6479828"/>
          </a:xfrm>
        </p:spPr>
        <p:txBody>
          <a:bodyPr vert="vert270">
            <a:noAutofit/>
          </a:bodyPr>
          <a:lstStyle>
            <a:lvl1pPr marL="58493" indent="0" algn="l">
              <a:buFontTx/>
              <a:buNone/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B8B0B-CA2B-984A-ABC9-88DAB902706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4113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2A21FA-3A64-B748-8CBD-68DF574328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205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15935" y="6524625"/>
            <a:ext cx="6049963" cy="2174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273050" y="6453208"/>
            <a:ext cx="64087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The University of Melbourne and The Myer Found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1600200"/>
            <a:ext cx="6298282" cy="1524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400" b="0" i="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AU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6800" y="3657600"/>
            <a:ext cx="5555332" cy="91095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b="0" i="0" u="none" cap="none" baseline="0">
                <a:solidFill>
                  <a:srgbClr val="FFFFFF"/>
                </a:solidFill>
                <a:latin typeface="Arial"/>
                <a:cs typeface="Arial"/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824981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2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70"/>
            <a:ext cx="2311400" cy="365125"/>
          </a:xfrm>
          <a:prstGeom prst="rect">
            <a:avLst/>
          </a:prstGeom>
        </p:spPr>
        <p:txBody>
          <a:bodyPr/>
          <a:lstStyle/>
          <a:p>
            <a:fld id="{BE6D5805-8940-46C8-8597-EF4B8606F733}" type="datetimeFigureOut">
              <a:rPr lang="en-AU" smtClean="0"/>
              <a:t>9/03/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7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3B157-221D-4442-B861-127A3760FB7F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9700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5000">
        <p:fade/>
      </p:transition>
    </mc:Choice>
    <mc:Fallback xmlns="">
      <p:transition spd="med" advClick="0" advTm="25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9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905000"/>
            <a:ext cx="8229600" cy="3581400"/>
          </a:xfrm>
        </p:spPr>
        <p:txBody>
          <a:bodyPr>
            <a:noAutofit/>
          </a:bodyPr>
          <a:lstStyle>
            <a:lvl1pPr marL="58493" indent="0">
              <a:spcBef>
                <a:spcPts val="0"/>
              </a:spcBef>
              <a:buNone/>
              <a:defRPr sz="1400" b="0" i="0">
                <a:latin typeface="Arial"/>
                <a:cs typeface="Verdana"/>
              </a:defRPr>
            </a:lvl1pPr>
            <a:lvl2pPr marL="458498" indent="0">
              <a:buNone/>
              <a:defRPr sz="1400" b="0" i="0">
                <a:latin typeface="Arial"/>
                <a:cs typeface="Verdana"/>
              </a:defRPr>
            </a:lvl2pPr>
            <a:lvl3pPr marL="858502" indent="0">
              <a:buNone/>
              <a:defRPr sz="1400" b="0" i="0" baseline="0">
                <a:latin typeface="Arial"/>
                <a:cs typeface="Verdana"/>
              </a:defRPr>
            </a:lvl3pPr>
            <a:lvl4pPr marL="1315649" indent="0">
              <a:buNone/>
              <a:defRPr sz="1400">
                <a:latin typeface="Helvetica Neue"/>
                <a:cs typeface="Helvetica Neue"/>
              </a:defRPr>
            </a:lvl4pPr>
            <a:lvl5pPr marL="1772798" indent="0">
              <a:buNone/>
              <a:defRPr sz="1400" b="0" i="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2"/>
            <a:r>
              <a:rPr lang="en-GB" noProof="0" dirty="0"/>
              <a:t>	      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468016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3480668-BAF1-1546-A4EF-3ACF2BAC9BA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025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918290" y="34988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918289" y="508621"/>
            <a:ext cx="2978379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/6/2016 10:20 PM SE Asia Standard Time</a:t>
            </a:r>
            <a:endParaRPr lang="en-US" sz="918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918336" y="668989"/>
            <a:ext cx="37189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19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85" y="657460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217694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3945699"/>
            <a:ext cx="5455758" cy="219820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46507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4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3" y="164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39283" y="6558948"/>
            <a:ext cx="158698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771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32" y="160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2" y="160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5673" y="1990708"/>
            <a:ext cx="4755582" cy="12557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539282" y="65604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0484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32" y="160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2" y="160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7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27353" y="204165"/>
            <a:ext cx="9400381" cy="2923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kumimoji="0" lang="en-US" sz="1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Add slide lead here</a:t>
            </a:r>
          </a:p>
        </p:txBody>
      </p:sp>
    </p:spTree>
    <p:extLst>
      <p:ext uri="{BB962C8B-B14F-4D97-AF65-F5344CB8AC3E}">
        <p14:creationId xmlns:p14="http://schemas.microsoft.com/office/powerpoint/2010/main" val="162119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918290" y="34988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918289" y="508621"/>
            <a:ext cx="2978379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/6/2016 10:20 PM SE Asia Standard Time</a:t>
            </a:r>
            <a:endParaRPr lang="en-US" sz="918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918336" y="668989"/>
            <a:ext cx="37189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19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85" y="657460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217694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3945699"/>
            <a:ext cx="5455758" cy="219820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83440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4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3" y="164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39283" y="6558948"/>
            <a:ext cx="158698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224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9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3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848546" y="1772816"/>
            <a:ext cx="8153400" cy="3581400"/>
          </a:xfrm>
        </p:spPr>
        <p:txBody>
          <a:bodyPr>
            <a:noAutofit/>
          </a:bodyPr>
          <a:lstStyle>
            <a:lvl1pPr>
              <a:buClr>
                <a:srgbClr val="E1202C"/>
              </a:buClr>
              <a:defRPr sz="1400" b="0" i="0">
                <a:latin typeface="Arial"/>
                <a:cs typeface="Verdana"/>
              </a:defRPr>
            </a:lvl1pPr>
            <a:lvl2pPr>
              <a:defRPr sz="1400" b="0" i="0">
                <a:latin typeface="Arial"/>
                <a:cs typeface="Verdana"/>
              </a:defRPr>
            </a:lvl2pPr>
            <a:lvl3pPr>
              <a:defRPr sz="1400" b="0" i="0">
                <a:latin typeface="Arial"/>
                <a:cs typeface="Verdana"/>
              </a:defRPr>
            </a:lvl3pPr>
            <a:lvl4pPr>
              <a:defRPr sz="1400" b="0" i="0">
                <a:latin typeface="Arial"/>
                <a:cs typeface="Verdana"/>
              </a:defRPr>
            </a:lvl4pPr>
            <a:lvl5pPr>
              <a:defRPr sz="1400" b="0" i="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0F1D0B-4313-E14E-B80B-BBE4C8D41D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307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27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1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9436" y="1473622"/>
            <a:ext cx="4031556" cy="4464050"/>
          </a:xfrm>
        </p:spPr>
        <p:txBody>
          <a:bodyPr>
            <a:noAutofit/>
          </a:bodyPr>
          <a:lstStyle>
            <a:lvl1pPr>
              <a:buClr>
                <a:srgbClr val="E1202C"/>
              </a:buCl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473622"/>
            <a:ext cx="4031556" cy="446405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Swiss 72 1 BT" charset="0"/>
              </a:defRPr>
            </a:lvl1pPr>
          </a:lstStyle>
          <a:p>
            <a:pPr>
              <a:defRPr/>
            </a:pPr>
            <a:fld id="{0899A7D4-528C-2C4F-854F-B19FC2CF74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559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1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1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8876" y="2153915"/>
            <a:ext cx="3816103" cy="3815507"/>
          </a:xfrm>
        </p:spPr>
        <p:txBody>
          <a:bodyPr>
            <a:noAutofit/>
          </a:bodyPr>
          <a:lstStyle>
            <a:lvl1pPr>
              <a:defRPr sz="1400" b="0" i="0">
                <a:latin typeface="Arial"/>
                <a:cs typeface="Verdana"/>
              </a:defRPr>
            </a:lvl1pPr>
            <a:lvl2pPr>
              <a:defRPr sz="1400" b="0" i="0">
                <a:latin typeface="Arial"/>
                <a:cs typeface="Verdana"/>
              </a:defRPr>
            </a:lvl2pPr>
            <a:lvl3pPr>
              <a:defRPr sz="1400" b="0" i="0">
                <a:latin typeface="Arial"/>
                <a:cs typeface="Verdana"/>
              </a:defRPr>
            </a:lvl3pPr>
            <a:lvl4pPr>
              <a:defRPr sz="1400" b="0" i="0">
                <a:latin typeface="Arial"/>
                <a:cs typeface="Verdana"/>
              </a:defRPr>
            </a:lvl4pPr>
            <a:lvl5pPr>
              <a:defRPr sz="1400" b="0" i="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905" y="2153915"/>
            <a:ext cx="3815984" cy="3815507"/>
          </a:xfrm>
        </p:spPr>
        <p:txBody>
          <a:bodyPr>
            <a:noAutofit/>
          </a:bodyPr>
          <a:lstStyle>
            <a:lvl1pPr>
              <a:defRPr sz="1400">
                <a:latin typeface="Arial"/>
                <a:cs typeface="Verdana"/>
              </a:defRPr>
            </a:lvl1pPr>
            <a:lvl2pPr>
              <a:defRPr sz="1400">
                <a:latin typeface="Arial"/>
                <a:cs typeface="Verdana"/>
              </a:defRPr>
            </a:lvl2pPr>
            <a:lvl3pPr>
              <a:defRPr sz="1400">
                <a:latin typeface="Arial"/>
                <a:cs typeface="Verdana"/>
              </a:defRPr>
            </a:lvl3pPr>
            <a:lvl4pPr>
              <a:defRPr sz="1400">
                <a:latin typeface="Arial"/>
                <a:cs typeface="Verdana"/>
              </a:defRPr>
            </a:lvl4pPr>
            <a:lvl5pPr>
              <a:defRPr sz="140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847290" y="1505845"/>
            <a:ext cx="3817689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5029211" y="1505845"/>
            <a:ext cx="3817689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147248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8B1AF8-C0D3-8E4E-9F9B-05ECCE09987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35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728864" y="154982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728864" y="2197897"/>
            <a:ext cx="2520000" cy="3815507"/>
          </a:xfrm>
        </p:spPr>
        <p:txBody>
          <a:bodyPr>
            <a:noAutofit/>
          </a:bodyPr>
          <a:lstStyle>
            <a:lvl1pPr>
              <a:defRPr sz="1200">
                <a:latin typeface="Arial"/>
                <a:cs typeface="Verdana"/>
              </a:defRPr>
            </a:lvl1pPr>
            <a:lvl2pPr>
              <a:defRPr sz="1200">
                <a:latin typeface="Arial"/>
                <a:cs typeface="Verdana"/>
              </a:defRPr>
            </a:lvl2pPr>
            <a:lvl3pPr>
              <a:defRPr sz="1200">
                <a:latin typeface="Arial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848824" y="155813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848824" y="2197897"/>
            <a:ext cx="2520000" cy="3815507"/>
          </a:xfrm>
        </p:spPr>
        <p:txBody>
          <a:bodyPr>
            <a:noAutofit/>
          </a:bodyPr>
          <a:lstStyle>
            <a:lvl1pPr>
              <a:defRPr sz="1200">
                <a:latin typeface="Arial"/>
                <a:cs typeface="Verdana"/>
              </a:defRPr>
            </a:lvl1pPr>
            <a:lvl2pPr>
              <a:defRPr sz="1200">
                <a:latin typeface="Arial"/>
                <a:cs typeface="Verdana"/>
              </a:defRPr>
            </a:lvl2pPr>
            <a:lvl3pPr>
              <a:defRPr sz="1200">
                <a:latin typeface="Arial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6477000" y="154982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6477000" y="2197897"/>
            <a:ext cx="2520000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644F3-926F-554A-9906-0CC9A5509D2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24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2936776" y="1505845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2936776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848544" y="1514154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 Bold"/>
                <a:cs typeface="Arial Bold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848544" y="2153915"/>
            <a:ext cx="2016224" cy="3815507"/>
          </a:xfrm>
        </p:spPr>
        <p:txBody>
          <a:bodyPr>
            <a:noAutofit/>
          </a:bodyPr>
          <a:lstStyle>
            <a:lvl1pPr marL="252000" indent="-194400">
              <a:defRPr sz="1000" b="0" i="0">
                <a:latin typeface="Arial"/>
                <a:cs typeface="Arial"/>
              </a:defRPr>
            </a:lvl1pPr>
            <a:lvl2pPr marL="471600" indent="-194400">
              <a:defRPr sz="1000" b="0" i="0">
                <a:latin typeface="Arial"/>
                <a:cs typeface="Arial"/>
              </a:defRPr>
            </a:lvl2pPr>
            <a:lvl3pPr marL="781200" indent="-194400">
              <a:defRPr sz="1000" b="0" i="0">
                <a:latin typeface="Arial"/>
                <a:cs typeface="Arial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buNone/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5025008" y="1505845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6"/>
          </p:nvPr>
        </p:nvSpPr>
        <p:spPr>
          <a:xfrm>
            <a:off x="5025008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7127776" y="1505845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8"/>
          </p:nvPr>
        </p:nvSpPr>
        <p:spPr>
          <a:xfrm>
            <a:off x="7127776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82A58-4391-F940-B93D-AD89F6C387E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716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2526432" y="109264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2526432" y="1736546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850032" y="109264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850032" y="1736546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Verdana"/>
                <a:cs typeface="Verdana"/>
              </a:defRPr>
            </a:lvl2pPr>
            <a:lvl3pPr>
              <a:defRPr sz="1000" b="0" i="0">
                <a:latin typeface="Verdana"/>
                <a:cs typeface="Verdana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4232927" y="109264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6"/>
          </p:nvPr>
        </p:nvSpPr>
        <p:spPr>
          <a:xfrm>
            <a:off x="4232927" y="1736546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5997118" y="109264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8"/>
          </p:nvPr>
        </p:nvSpPr>
        <p:spPr>
          <a:xfrm>
            <a:off x="5997118" y="1736546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7761312" y="109264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0"/>
          </p:nvPr>
        </p:nvSpPr>
        <p:spPr>
          <a:xfrm>
            <a:off x="7761312" y="1736546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0BCA9E-F8A0-B849-BF0D-0460F69BBBB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400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728864" y="1484314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3728864" y="2132857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1"/>
          </p:nvPr>
        </p:nvSpPr>
        <p:spPr>
          <a:xfrm>
            <a:off x="836715" y="1484314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2"/>
          </p:nvPr>
        </p:nvSpPr>
        <p:spPr>
          <a:xfrm>
            <a:off x="836715" y="2132857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6553205" y="1498985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4"/>
          </p:nvPr>
        </p:nvSpPr>
        <p:spPr>
          <a:xfrm>
            <a:off x="6553205" y="2147528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buNone/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5"/>
          </p:nvPr>
        </p:nvSpPr>
        <p:spPr>
          <a:xfrm>
            <a:off x="836715" y="396242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16"/>
          </p:nvPr>
        </p:nvSpPr>
        <p:spPr>
          <a:xfrm>
            <a:off x="836715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7"/>
          </p:nvPr>
        </p:nvSpPr>
        <p:spPr>
          <a:xfrm>
            <a:off x="6553205" y="396242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18"/>
          </p:nvPr>
        </p:nvSpPr>
        <p:spPr>
          <a:xfrm>
            <a:off x="6553205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9"/>
          </p:nvPr>
        </p:nvSpPr>
        <p:spPr>
          <a:xfrm>
            <a:off x="3728864" y="396242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0"/>
          </p:nvPr>
        </p:nvSpPr>
        <p:spPr>
          <a:xfrm>
            <a:off x="3728864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3600B-923A-9E46-9E78-7C8498C6610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03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14.bin"/><Relationship Id="rId5" Type="http://schemas.openxmlformats.org/officeDocument/2006/relationships/tags" Target="../tags/tag14.xml"/><Relationship Id="rId4" Type="http://schemas.openxmlformats.org/officeDocument/2006/relationships/vmlDrawing" Target="../drawings/vmlDrawing14.v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7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99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21" imgW="38100" imgH="38100" progId="">
                  <p:embed/>
                </p:oleObj>
              </mc:Choice>
              <mc:Fallback>
                <p:oleObj name="think-cell Slide" r:id="rId21" imgW="38100" imgH="3810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0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549400"/>
            <a:ext cx="81534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74177" y="6597650"/>
            <a:ext cx="584201" cy="304800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900" smtClean="0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8A82C573-0AA5-AB49-8A94-06DECA67F65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29" name="Title Placeholder 8"/>
          <p:cNvSpPr>
            <a:spLocks noGrp="1"/>
          </p:cNvSpPr>
          <p:nvPr>
            <p:ph type="title"/>
          </p:nvPr>
        </p:nvSpPr>
        <p:spPr bwMode="auto">
          <a:xfrm>
            <a:off x="849313" y="476250"/>
            <a:ext cx="81534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Rectangle 6"/>
          <p:cNvSpPr/>
          <p:nvPr userDrawn="1"/>
        </p:nvSpPr>
        <p:spPr>
          <a:xfrm>
            <a:off x="3" y="6553200"/>
            <a:ext cx="6858001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32" name="Picture 8" descr="RGB_Logo.jpg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8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52" r:id="rId6"/>
    <p:sldLayoutId id="2147484653" r:id="rId7"/>
    <p:sldLayoutId id="2147484654" r:id="rId8"/>
    <p:sldLayoutId id="2147484655" r:id="rId9"/>
    <p:sldLayoutId id="2147484666" r:id="rId10"/>
    <p:sldLayoutId id="2147484667" r:id="rId11"/>
    <p:sldLayoutId id="2147484656" r:id="rId12"/>
    <p:sldLayoutId id="2147484657" r:id="rId13"/>
    <p:sldLayoutId id="2147484658" r:id="rId14"/>
    <p:sldLayoutId id="2147484668" r:id="rId15"/>
    <p:sldLayoutId id="2147484659" r:id="rId16"/>
    <p:sldLayoutId id="2147484660" r:id="rId17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800" kern="12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9pPr>
    </p:titleStyle>
    <p:bodyStyle>
      <a:lvl1pPr marL="341313" indent="-284163" algn="l" defTabSz="912813" rtl="0" eaLnBrk="0" fontAlgn="base" hangingPunct="0">
        <a:spcBef>
          <a:spcPct val="0"/>
        </a:spcBef>
        <a:spcAft>
          <a:spcPct val="0"/>
        </a:spcAft>
        <a:buClr>
          <a:srgbClr val="E1202C"/>
        </a:buClr>
        <a:buFont typeface="Arial" charset="0"/>
        <a:buChar char="•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1pPr>
      <a:lvl2pPr marL="74136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2pPr>
      <a:lvl3pPr marL="11414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3pPr>
      <a:lvl4pPr marL="15986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4pPr>
      <a:lvl5pPr marL="20558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»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194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6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7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0B435525-45EE-9E43-9A58-5CC11AE439FC}" type="datetime1">
              <a:rPr lang="en-US"/>
              <a:pPr>
                <a:defRPr/>
              </a:pPr>
              <a:t>3/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7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-106" charset="0"/>
                <a:ea typeface="Arial" pitchFamily="-106" charset="0"/>
                <a:cs typeface="Arial" pitchFamily="-106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7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08755621-DC80-EA46-86D2-008447547A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82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9562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3" y="1990687"/>
            <a:ext cx="4755582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60" y="234884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22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28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60" y="542633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3" y="6198769"/>
            <a:ext cx="9449743" cy="526418"/>
            <a:chOff x="75" y="3827"/>
            <a:chExt cx="5385" cy="3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9279" indent="-619279" defTabSz="909562" fontAlgn="auto">
                <a:spcBef>
                  <a:spcPts val="0"/>
                </a:spcBef>
                <a:spcAft>
                  <a:spcPts val="0"/>
                </a:spcAft>
                <a:tabLst>
                  <a:tab pos="622501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9" y="1072271"/>
            <a:ext cx="4713466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b="1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Title</a:t>
              </a:r>
            </a:p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493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8" r:id="rId1"/>
    <p:sldLayoutId id="2147484699" r:id="rId2"/>
    <p:sldLayoutId id="2147484700" r:id="rId3"/>
    <p:sldLayoutId id="2147484701" r:id="rId4"/>
  </p:sldLayoutIdLst>
  <p:hf hdr="0" ftr="0" dt="0"/>
  <p:txStyles>
    <p:titleStyle>
      <a:lvl1pPr algn="l" defTabSz="909562" rtl="0" eaLnBrk="1" fontAlgn="base" hangingPunct="1">
        <a:spcBef>
          <a:spcPct val="0"/>
        </a:spcBef>
        <a:spcAft>
          <a:spcPct val="0"/>
        </a:spcAft>
        <a:tabLst>
          <a:tab pos="274159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44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28914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3377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578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6751" indent="-19514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4431" indent="-266097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4115" indent="-15805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44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3377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578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229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8674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5120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15665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933837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9562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3" y="1990687"/>
            <a:ext cx="4755582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60" y="234884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22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28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60" y="542633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3" y="6198769"/>
            <a:ext cx="9449743" cy="526418"/>
            <a:chOff x="75" y="3827"/>
            <a:chExt cx="5385" cy="3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9279" indent="-619279" defTabSz="909562" fontAlgn="auto">
                <a:spcBef>
                  <a:spcPts val="0"/>
                </a:spcBef>
                <a:spcAft>
                  <a:spcPts val="0"/>
                </a:spcAft>
                <a:tabLst>
                  <a:tab pos="622501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9" y="1072271"/>
            <a:ext cx="4713466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b="1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Title</a:t>
              </a:r>
            </a:p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176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7" r:id="rId1"/>
    <p:sldLayoutId id="2147484718" r:id="rId2"/>
  </p:sldLayoutIdLst>
  <p:hf hdr="0" ftr="0" dt="0"/>
  <p:txStyles>
    <p:titleStyle>
      <a:lvl1pPr algn="l" defTabSz="909562" rtl="0" eaLnBrk="1" fontAlgn="base" hangingPunct="1">
        <a:spcBef>
          <a:spcPct val="0"/>
        </a:spcBef>
        <a:spcAft>
          <a:spcPct val="0"/>
        </a:spcAft>
        <a:tabLst>
          <a:tab pos="274159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44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28914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3377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578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6751" indent="-19514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4431" indent="-266097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4115" indent="-15805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44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3377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578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229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8674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5120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15665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3/9/201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2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3/9/201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22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3/9/201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2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D7D96C07-127F-45C0-9E5D-C1C79C653816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3/9/201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0FAB72B8-E05D-445C-B771-AD6AE4FC3CE1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2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94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b="1" dirty="0"/>
              <a:t>International education: providing quality experiences to gain a competitive edge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49" y="5661045"/>
            <a:ext cx="9910409" cy="1205281"/>
            <a:chOff x="-15552" y="5661025"/>
            <a:chExt cx="9910409" cy="120528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8704" y="5661025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4857" y="5701641"/>
              <a:ext cx="3960000" cy="1115741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403398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George </a:t>
            </a:r>
            <a:r>
              <a:rPr lang="en-AU" b="1" dirty="0" err="1"/>
              <a:t>Marantika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800" dirty="0"/>
              <a:t>Chairman, International Affairs and Relations</a:t>
            </a:r>
            <a:r>
              <a:rPr lang="en-AU" sz="2000" dirty="0"/>
              <a:t/>
            </a:r>
            <a:br>
              <a:rPr lang="en-AU" sz="2000" dirty="0"/>
            </a:br>
            <a:r>
              <a:rPr lang="en-AU" sz="2000" dirty="0"/>
              <a:t>Association of Private Higher Education Institutions in Indonesia </a:t>
            </a:r>
            <a:r>
              <a:rPr lang="en-AU" sz="2400" dirty="0"/>
              <a:t/>
            </a:r>
            <a:br>
              <a:rPr lang="en-AU" sz="2400" dirty="0"/>
            </a:br>
            <a:r>
              <a:rPr lang="en-AU" sz="2800" dirty="0"/>
              <a:t>President</a:t>
            </a:r>
            <a:br>
              <a:rPr lang="en-AU" sz="2800" dirty="0"/>
            </a:br>
            <a:r>
              <a:rPr lang="en-AU" sz="2000" dirty="0"/>
              <a:t>Indonesia Australia Business Council, Yogyakarta</a:t>
            </a:r>
            <a:r>
              <a:rPr lang="en-AU" sz="2000" b="1" dirty="0"/>
              <a:t/>
            </a:r>
            <a:br>
              <a:rPr lang="en-AU" sz="2000" b="1" dirty="0"/>
            </a:br>
            <a:r>
              <a:rPr lang="en-AU" sz="2000" b="1" dirty="0"/>
              <a:t/>
            </a:r>
            <a:br>
              <a:rPr lang="en-AU" sz="2000" b="1" dirty="0"/>
            </a:br>
            <a:endParaRPr lang="en-AU" sz="2000" b="1" dirty="0"/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9A954438-D6A1-43C5-A90B-AB30EEE413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685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5300" y="762000"/>
            <a:ext cx="8915400" cy="14478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Indonesia - Australia</a:t>
            </a:r>
            <a:br>
              <a:rPr lang="en-US" dirty="0" smtClean="0"/>
            </a:br>
            <a:r>
              <a:rPr lang="en-US" dirty="0" err="1" smtClean="0"/>
              <a:t>Asean’s</a:t>
            </a:r>
            <a:r>
              <a:rPr lang="en-US" dirty="0" smtClean="0"/>
              <a:t> new emerging knowledge base economy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rcRect t="1115" b="1115"/>
          <a:stretch>
            <a:fillRect/>
          </a:stretch>
        </p:blipFill>
        <p:spPr>
          <a:xfrm>
            <a:off x="1651000" y="2743221"/>
            <a:ext cx="6273800" cy="3382963"/>
          </a:xfrm>
        </p:spPr>
      </p:pic>
    </p:spTree>
    <p:extLst>
      <p:ext uri="{BB962C8B-B14F-4D97-AF65-F5344CB8AC3E}">
        <p14:creationId xmlns:p14="http://schemas.microsoft.com/office/powerpoint/2010/main" val="281102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3150" y="228600"/>
            <a:ext cx="7594600" cy="762000"/>
          </a:xfrm>
        </p:spPr>
        <p:txBody>
          <a:bodyPr>
            <a:noAutofit/>
          </a:bodyPr>
          <a:lstStyle/>
          <a:p>
            <a:r>
              <a:rPr lang="en-US" sz="2800" b="1" dirty="0" smtClean="0"/>
              <a:t>ECOSYSTEM OF INDONESIA – AUSTRALIA</a:t>
            </a:r>
            <a:br>
              <a:rPr lang="en-US" sz="2800" b="1" dirty="0" smtClean="0"/>
            </a:br>
            <a:r>
              <a:rPr lang="en-US" sz="2400" b="1" dirty="0" smtClean="0"/>
              <a:t>Invention -Digital Innovation – Knowledge Economy</a:t>
            </a:r>
            <a:endParaRPr lang="en-US" sz="2800" b="1" dirty="0"/>
          </a:p>
        </p:txBody>
      </p:sp>
      <p:sp>
        <p:nvSpPr>
          <p:cNvPr id="4" name="Rectangle 3"/>
          <p:cNvSpPr/>
          <p:nvPr/>
        </p:nvSpPr>
        <p:spPr>
          <a:xfrm>
            <a:off x="2476500" y="2895600"/>
            <a:ext cx="1485900" cy="198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Indonesian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University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/ HEI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43600" y="2895600"/>
            <a:ext cx="1403350" cy="198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Australia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University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 / HEI</a:t>
            </a:r>
            <a:endParaRPr lang="en-US" sz="2000" dirty="0">
              <a:solidFill>
                <a:prstClr val="white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4044950" y="3886200"/>
            <a:ext cx="1816100" cy="1588"/>
          </a:xfrm>
          <a:prstGeom prst="straightConnector1">
            <a:avLst/>
          </a:prstGeom>
          <a:ln w="508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rot="10800000" flipV="1">
            <a:off x="1898650" y="1905000"/>
            <a:ext cx="1816100" cy="76200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1981200" y="5257800"/>
            <a:ext cx="1898650" cy="60960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rot="10800000">
            <a:off x="6108700" y="1905000"/>
            <a:ext cx="1733550" cy="76200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6273800" y="5257800"/>
            <a:ext cx="1568450" cy="60960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3879850" y="1219200"/>
            <a:ext cx="2063750" cy="12192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Indonesian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Business &amp;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Industry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3962400" y="5257800"/>
            <a:ext cx="2063750" cy="12192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Australian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Business &amp;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Industry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82550" y="2362200"/>
            <a:ext cx="1898650" cy="35052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Indonesian Market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b="1" dirty="0" smtClean="0">
              <a:solidFill>
                <a:prstClr val="black"/>
              </a:solidFill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ASEAN Market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prstClr val="black"/>
              </a:solidFill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Third market Export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7842250" y="2209800"/>
            <a:ext cx="1733550" cy="36576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IP/Patents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prstClr val="black"/>
              </a:solidFill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Seed Capital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Angel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Investors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prstClr val="black"/>
              </a:solidFill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 Australia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prstClr val="black"/>
                </a:solidFill>
              </a:rPr>
              <a:t>Market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4210050" y="2895600"/>
            <a:ext cx="1568450" cy="7620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Research &amp;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Innovation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4210050" y="4114800"/>
            <a:ext cx="1568450" cy="4572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prstClr val="white"/>
                </a:solidFill>
              </a:rPr>
              <a:t>Incubation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1" name="Left Arrow 40"/>
          <p:cNvSpPr/>
          <p:nvPr/>
        </p:nvSpPr>
        <p:spPr>
          <a:xfrm>
            <a:off x="2063750" y="3429000"/>
            <a:ext cx="330200" cy="1066800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2" name="Left Arrow 41"/>
          <p:cNvSpPr/>
          <p:nvPr/>
        </p:nvSpPr>
        <p:spPr>
          <a:xfrm rot="10800000">
            <a:off x="7429500" y="3429000"/>
            <a:ext cx="330200" cy="1066800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Era of Disruption</a:t>
            </a:r>
            <a:endParaRPr lang="en-US" sz="28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rcRect t="5032" b="5032"/>
          <a:stretch>
            <a:fillRect/>
          </a:stretch>
        </p:blipFill>
        <p:spPr/>
      </p:pic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>
            <a:normAutofit fontScale="92500"/>
          </a:bodyPr>
          <a:lstStyle/>
          <a:p>
            <a:r>
              <a:rPr lang="en-US" sz="2800" dirty="0" smtClean="0"/>
              <a:t>-   Digital Economy</a:t>
            </a:r>
          </a:p>
          <a:p>
            <a:r>
              <a:rPr lang="en-US" sz="2800" dirty="0" smtClean="0"/>
              <a:t>-   Industrial   </a:t>
            </a:r>
          </a:p>
          <a:p>
            <a:r>
              <a:rPr lang="en-US" sz="2800" dirty="0" smtClean="0"/>
              <a:t>    Revolution 4.0</a:t>
            </a:r>
          </a:p>
          <a:p>
            <a:pPr marL="457200" indent="-457200">
              <a:buFontTx/>
              <a:buChar char="-"/>
            </a:pPr>
            <a:r>
              <a:rPr lang="en-US" sz="2800" dirty="0" smtClean="0"/>
              <a:t>Linkage between Higher Education and Industry</a:t>
            </a:r>
          </a:p>
          <a:p>
            <a:pPr marL="457200" indent="-457200">
              <a:buFontTx/>
              <a:buChar char="-"/>
            </a:pPr>
            <a:r>
              <a:rPr lang="en-US" sz="2800" dirty="0" smtClean="0"/>
              <a:t>Innovation</a:t>
            </a:r>
          </a:p>
          <a:p>
            <a:pPr marL="457200" indent="-457200">
              <a:buFontTx/>
              <a:buChar char="-"/>
            </a:pPr>
            <a:r>
              <a:rPr lang="en-US" sz="2800" dirty="0" smtClean="0"/>
              <a:t>Incubation</a:t>
            </a:r>
          </a:p>
          <a:p>
            <a:r>
              <a:rPr lang="en-US" sz="2800" dirty="0" smtClean="0"/>
              <a:t>-    Start-Up</a:t>
            </a:r>
          </a:p>
          <a:p>
            <a:r>
              <a:rPr lang="en-US" sz="2800" dirty="0" smtClean="0"/>
              <a:t>-    Unicorn </a:t>
            </a:r>
          </a:p>
        </p:txBody>
      </p:sp>
    </p:spTree>
    <p:extLst>
      <p:ext uri="{BB962C8B-B14F-4D97-AF65-F5344CB8AC3E}">
        <p14:creationId xmlns:p14="http://schemas.microsoft.com/office/powerpoint/2010/main" val="378153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iority Industry knowledge attractive to Higher Education</a:t>
            </a:r>
            <a:endParaRPr lang="en-US" dirty="0"/>
          </a:p>
        </p:txBody>
      </p:sp>
      <p:pic>
        <p:nvPicPr>
          <p:cNvPr id="4" name="Content Placeholder 3" descr="Screenshot_20180309-013004 (1)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96" b="17796"/>
          <a:stretch>
            <a:fillRect/>
          </a:stretch>
        </p:blipFill>
        <p:spPr/>
      </p:pic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sz="2400" dirty="0" smtClean="0"/>
              <a:t>-  Artificial Intelligence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Big Data – Machine Learning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Cyber Security Digital Forensics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Block Chain</a:t>
            </a:r>
          </a:p>
          <a:p>
            <a:pPr marL="342900" indent="-342900">
              <a:buFontTx/>
              <a:buChar char="-"/>
            </a:pPr>
            <a:r>
              <a:rPr lang="en-US" sz="2400" dirty="0" smtClean="0"/>
              <a:t>Telemedicine and Digital Health </a:t>
            </a:r>
          </a:p>
          <a:p>
            <a:endParaRPr lang="en-US" sz="2400" dirty="0" smtClean="0"/>
          </a:p>
          <a:p>
            <a:endParaRPr lang="en-US" sz="2400" dirty="0" smtClean="0"/>
          </a:p>
          <a:p>
            <a:pPr marL="342900" indent="-342900">
              <a:buFontTx/>
              <a:buChar char="-"/>
            </a:pP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3766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Mukund </a:t>
            </a:r>
            <a:r>
              <a:rPr lang="en-AU" b="1" dirty="0" err="1"/>
              <a:t>Narayanamurt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EO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CFFF77AE-112D-4742-930F-4DB70E10C9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0614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Rob </a:t>
            </a:r>
            <a:r>
              <a:rPr lang="en-AU" b="1" dirty="0" err="1"/>
              <a:t>Delane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800" dirty="0"/>
              <a:t>Deputy Director General </a:t>
            </a:r>
            <a:br>
              <a:rPr lang="en-AU" sz="2800" dirty="0"/>
            </a:br>
            <a:r>
              <a:rPr lang="en-AU" sz="2800" dirty="0"/>
              <a:t>(International Education, Trade and Investment) </a:t>
            </a:r>
            <a:br>
              <a:rPr lang="en-AU" sz="2800" dirty="0"/>
            </a:br>
            <a:r>
              <a:rPr lang="en-AU" sz="2800" dirty="0"/>
              <a:t>Department of Jobs, Tourism, Science </a:t>
            </a:r>
            <a:br>
              <a:rPr lang="en-AU" sz="2800" dirty="0"/>
            </a:br>
            <a:r>
              <a:rPr lang="en-AU" sz="2800" dirty="0"/>
              <a:t>and Innovation</a:t>
            </a:r>
            <a:br>
              <a:rPr lang="en-AU" sz="2800" dirty="0"/>
            </a:br>
            <a:r>
              <a:rPr lang="en-AU" sz="2800" dirty="0"/>
              <a:t>Government of Western Australia 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A9E97C4B-9849-4070-9750-DE5EB65654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454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Title 1"/>
          <p:cNvSpPr txBox="1">
            <a:spLocks/>
          </p:cNvSpPr>
          <p:nvPr/>
        </p:nvSpPr>
        <p:spPr bwMode="auto">
          <a:xfrm>
            <a:off x="560513" y="620688"/>
            <a:ext cx="8928992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0" i="0" kern="1200" cap="none">
                <a:solidFill>
                  <a:schemeClr val="bg1"/>
                </a:solidFill>
                <a:latin typeface="Arial"/>
                <a:ea typeface="ＭＳ Ｐゴシック" pitchFamily="-106" charset="-128"/>
                <a:cs typeface="Arial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9pPr>
          </a:lstStyle>
          <a:p>
            <a:pPr>
              <a:lnSpc>
                <a:spcPct val="150000"/>
              </a:lnSpc>
            </a:pPr>
            <a:r>
              <a:rPr lang="en-AU" sz="1600" dirty="0">
                <a:latin typeface="Arial" charset="0"/>
                <a:ea typeface="ＭＳ Ｐゴシック" charset="0"/>
                <a:cs typeface="Arial" charset="0"/>
              </a:rPr>
              <a:t>Audience Q&amp;A with panel</a:t>
            </a:r>
            <a:r>
              <a:rPr lang="en-AU" sz="1600" dirty="0"/>
              <a:t/>
            </a:r>
            <a:br>
              <a:rPr lang="en-AU" sz="1600" dirty="0"/>
            </a:br>
            <a:r>
              <a:rPr lang="en-AU" sz="1600" b="1" dirty="0"/>
              <a:t>Rod Jones</a:t>
            </a:r>
            <a:r>
              <a:rPr lang="en-AU" sz="1600" dirty="0"/>
              <a:t>                    Chair, Study Perth </a:t>
            </a:r>
          </a:p>
          <a:p>
            <a:pPr>
              <a:lnSpc>
                <a:spcPct val="150000"/>
              </a:lnSpc>
            </a:pPr>
            <a:r>
              <a:rPr lang="en-AU" sz="1600" b="1" dirty="0" err="1"/>
              <a:t>Robynne</a:t>
            </a:r>
            <a:r>
              <a:rPr lang="en-AU" sz="1600" b="1" dirty="0"/>
              <a:t> Walsh</a:t>
            </a:r>
            <a:r>
              <a:rPr lang="en-AU" sz="1600" dirty="0"/>
              <a:t>            Principal, Phoenix Academy</a:t>
            </a:r>
            <a:br>
              <a:rPr lang="en-AU" sz="1600" dirty="0"/>
            </a:br>
            <a:r>
              <a:rPr lang="en-AU" sz="1600" b="1" dirty="0"/>
              <a:t>George </a:t>
            </a:r>
            <a:r>
              <a:rPr lang="en-AU" sz="1600" b="1" dirty="0" err="1"/>
              <a:t>Marantika</a:t>
            </a:r>
            <a:r>
              <a:rPr lang="en-AU" sz="1600" dirty="0"/>
              <a:t>        Chairman, International Affairs and Relations, Association of </a:t>
            </a:r>
          </a:p>
          <a:p>
            <a:pPr>
              <a:lnSpc>
                <a:spcPct val="150000"/>
              </a:lnSpc>
            </a:pPr>
            <a:r>
              <a:rPr lang="en-AU" sz="1600" dirty="0"/>
              <a:t>                                      Private Higher Education Institutions in Indonesia</a:t>
            </a:r>
          </a:p>
          <a:p>
            <a:pPr>
              <a:lnSpc>
                <a:spcPct val="150000"/>
              </a:lnSpc>
            </a:pPr>
            <a:r>
              <a:rPr lang="en-AU" sz="1600" dirty="0"/>
              <a:t>                                      President, Indonesia Australia Business Council, Yogyakarta</a:t>
            </a:r>
          </a:p>
          <a:p>
            <a:pPr>
              <a:lnSpc>
                <a:spcPct val="150000"/>
              </a:lnSpc>
            </a:pPr>
            <a:r>
              <a:rPr lang="en-AU" sz="1600" b="1" dirty="0"/>
              <a:t>Rob </a:t>
            </a:r>
            <a:r>
              <a:rPr lang="en-AU" sz="1600" b="1" dirty="0" err="1"/>
              <a:t>Delane</a:t>
            </a:r>
            <a:r>
              <a:rPr lang="en-AU" sz="1600" b="1" dirty="0"/>
              <a:t>                  </a:t>
            </a:r>
            <a:r>
              <a:rPr lang="en-AU" sz="1600" dirty="0"/>
              <a:t>Deputy Director General (International Education, Trade and Investment), </a:t>
            </a:r>
          </a:p>
          <a:p>
            <a:pPr>
              <a:lnSpc>
                <a:spcPct val="150000"/>
              </a:lnSpc>
            </a:pPr>
            <a:r>
              <a:rPr lang="en-AU" sz="1600" dirty="0"/>
              <a:t>                                      Department of Jobs, Tourism, Science and Innovation, Government of      </a:t>
            </a:r>
          </a:p>
          <a:p>
            <a:pPr>
              <a:lnSpc>
                <a:spcPct val="150000"/>
              </a:lnSpc>
            </a:pPr>
            <a:r>
              <a:rPr lang="en-AU" sz="1600" dirty="0"/>
              <a:t>                                     Western Australia</a:t>
            </a:r>
            <a:r>
              <a:rPr lang="en-AU" sz="1800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sz="1800" dirty="0">
                <a:latin typeface="Arial" charset="0"/>
                <a:ea typeface="ＭＳ Ｐゴシック" charset="0"/>
                <a:cs typeface="Arial" charset="0"/>
              </a:rPr>
            </a:br>
            <a:endParaRPr lang="en-AU" sz="1800" dirty="0">
              <a:latin typeface="Arial" charset="0"/>
              <a:ea typeface="ＭＳ Ｐゴシック" charset="0"/>
              <a:cs typeface="Arial" charset="0"/>
            </a:endParaRPr>
          </a:p>
          <a:p>
            <a:pPr>
              <a:lnSpc>
                <a:spcPct val="150000"/>
              </a:lnSpc>
            </a:pPr>
            <a:r>
              <a:rPr lang="en-AU" sz="1600" dirty="0">
                <a:latin typeface="Arial" charset="0"/>
                <a:ea typeface="ＭＳ Ｐゴシック" charset="0"/>
                <a:cs typeface="Arial" charset="0"/>
              </a:rPr>
              <a:t>Facilitated by </a:t>
            </a:r>
            <a:r>
              <a:rPr lang="en-AU" sz="1800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sz="18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600" b="1" dirty="0"/>
              <a:t>Mukund </a:t>
            </a:r>
            <a:r>
              <a:rPr lang="en-AU" sz="1600" b="1" dirty="0" err="1"/>
              <a:t>Narayanamurti</a:t>
            </a:r>
            <a:r>
              <a:rPr lang="en-AU" sz="1600" b="1" dirty="0"/>
              <a:t>    </a:t>
            </a:r>
            <a:r>
              <a:rPr lang="en-AU" sz="1600" dirty="0">
                <a:latin typeface="Arial" charset="0"/>
                <a:ea typeface="ＭＳ Ｐゴシック" charset="0"/>
                <a:cs typeface="Arial" charset="0"/>
              </a:rPr>
              <a:t>CEO, Asialink Busines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B8D8A613-7691-48EC-8243-B811608C3A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9183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Mukund </a:t>
            </a:r>
            <a:r>
              <a:rPr lang="en-AU" b="1" dirty="0" err="1"/>
              <a:t>Narayanamurt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EO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5FA6F6ED-6D71-446E-9FE7-2E94F14945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7275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DC1C0C1-E29A-B041-962F-6F254421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461" y="620708"/>
            <a:ext cx="8420100" cy="1362075"/>
          </a:xfrm>
        </p:spPr>
        <p:txBody>
          <a:bodyPr/>
          <a:lstStyle/>
          <a:p>
            <a:r>
              <a:rPr lang="en-US" sz="3600" dirty="0"/>
              <a:t>ASEAN COUNTRY STARTER PACKS</a:t>
            </a:r>
            <a:r>
              <a:rPr lang="en-US" dirty="0"/>
              <a:t/>
            </a:r>
            <a:br>
              <a:rPr lang="en-US" dirty="0"/>
            </a:br>
            <a:r>
              <a:rPr lang="en-US" sz="2400" dirty="0">
                <a:solidFill>
                  <a:schemeClr val="accent2"/>
                </a:solidFill>
              </a:rPr>
              <a:t>PRACTICAL GUIDES FOR AUSTRALIAN BUSINES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285CDD4-682C-7B41-A9C6-A8FE2D097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43467" y="6179923"/>
            <a:ext cx="642620" cy="304800"/>
          </a:xfrm>
        </p:spPr>
        <p:txBody>
          <a:bodyPr/>
          <a:lstStyle/>
          <a:p>
            <a:fld id="{6043B157-221D-4442-B861-127A3760FB7F}" type="slidenum">
              <a:rPr lang="en-AU" smtClean="0"/>
              <a:t>19</a:t>
            </a:fld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90ABD1B9-A3DF-5342-8355-492DBEF7D8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467" y="1982762"/>
            <a:ext cx="1431208" cy="20257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E555D94F-20A4-744F-AB2E-1C5EA18F04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054" y="4000551"/>
            <a:ext cx="1424984" cy="20214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CDCF9BB2-6B79-9142-9ECD-BF5DB2C3281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7107" y="1982763"/>
            <a:ext cx="1427815" cy="20257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114EC88D-EA01-F041-946C-5390FA829D5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475" y="4000533"/>
            <a:ext cx="1423239" cy="202148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C85F8EAE-EAD9-6A46-BA58-885012C9D11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815" y="1982764"/>
            <a:ext cx="1430277" cy="202579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53674EF3-F27F-3D41-BFC3-82ACA85157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4928" y="3999996"/>
            <a:ext cx="1433114" cy="2033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75BB1D7C-9B51-884A-B72D-5E01D1D628E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951" y="1984315"/>
            <a:ext cx="1407605" cy="199918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3548E465-B346-4544-A592-4A12CAC896E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6875" y="3962614"/>
            <a:ext cx="1462828" cy="20675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3998E7F7-670D-9440-A6AB-C50C94BD38C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529" y="1978793"/>
            <a:ext cx="1495130" cy="212023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06F74D5F-EA76-694B-B18D-57A07EDE7C8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297" y="3923564"/>
            <a:ext cx="1488149" cy="210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8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5000">
        <p:fade/>
      </p:transition>
    </mc:Choice>
    <mc:Fallback xmlns="">
      <p:transition spd="med" advClick="0" advTm="25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Mukund </a:t>
            </a:r>
            <a:r>
              <a:rPr lang="en-AU" b="1" dirty="0" err="1"/>
              <a:t>Narayanamurt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EO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E0CDC913-51BE-4671-B8F8-DD7BF92793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b="1" dirty="0"/>
              <a:t>Daniel High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Economic Development Manage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ity of Perth</a:t>
            </a: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97C2600B-9D31-4ED2-B985-AA5DD4F33C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6393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94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b="1" dirty="0"/>
              <a:t>International education: providing quality experiences to gain a competitive edge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49" y="5661045"/>
            <a:ext cx="9910409" cy="1205281"/>
            <a:chOff x="-15552" y="5661025"/>
            <a:chExt cx="9910409" cy="120528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8704" y="5661025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4857" y="5701641"/>
              <a:ext cx="3960000" cy="1115741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1D08D1B3-7F36-4488-B67B-3B5187F76F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939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94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/>
              <a:t/>
            </a:r>
            <a:br>
              <a:rPr lang="en-AU" dirty="0"/>
            </a:br>
            <a:r>
              <a:rPr lang="en-AU" b="1" dirty="0"/>
              <a:t>Stuart James</a:t>
            </a:r>
            <a:br>
              <a:rPr lang="en-AU" b="1" dirty="0"/>
            </a:br>
            <a:r>
              <a:rPr lang="en-AU" sz="3200" dirty="0"/>
              <a:t>Partner</a:t>
            </a:r>
            <a:br>
              <a:rPr lang="en-AU" sz="3200" dirty="0"/>
            </a:br>
            <a:r>
              <a:rPr lang="en-AU" sz="3200" dirty="0" err="1"/>
              <a:t>Ashurst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4728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4A31CC78-FB8E-4BD8-B000-BAD6AC9162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35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The Hon Bill Johnston MLA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000" dirty="0">
                <a:latin typeface="Arial" charset="0"/>
                <a:ea typeface="ＭＳ Ｐゴシック" charset="0"/>
                <a:cs typeface="Arial" charset="0"/>
              </a:rPr>
              <a:t>Minister for Mines and Petroleum; Commerce and Industrial Relations; Electoral Affairs; Asian Engagement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9C90A98D-7C49-413B-9290-79EBEBA6CF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77272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733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Mukund </a:t>
            </a:r>
            <a:r>
              <a:rPr lang="en-AU" b="1" dirty="0" err="1"/>
              <a:t>Narayanamurt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EO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35E7246A-A878-4BE1-AE90-56D041AB43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706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403398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Rod Jone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b="1" dirty="0"/>
              <a:t>Chair</a:t>
            </a:r>
            <a:br>
              <a:rPr lang="en-AU" sz="3200" b="1" dirty="0"/>
            </a:br>
            <a:r>
              <a:rPr lang="en-AU" sz="3200" b="1" dirty="0"/>
              <a:t>Study Perth 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endParaRPr lang="en-AU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FA7AA7A8-558F-4666-B25A-A3634BBE7F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092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Mukund </a:t>
            </a:r>
            <a:r>
              <a:rPr lang="en-AU" b="1" dirty="0" err="1"/>
              <a:t>Narayanamurt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EO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2EDE1F20-A95B-4B62-A939-79ACA19B93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441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403398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 err="1"/>
              <a:t>Robynne</a:t>
            </a:r>
            <a:r>
              <a:rPr lang="en-AU" b="1" dirty="0"/>
              <a:t> Walsh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b="1" dirty="0"/>
              <a:t>Principal</a:t>
            </a:r>
            <a:br>
              <a:rPr lang="en-AU" sz="3200" b="1" dirty="0"/>
            </a:br>
            <a:r>
              <a:rPr lang="en-AU" sz="3200" b="1" dirty="0"/>
              <a:t>Phoenix Academy 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endParaRPr lang="en-AU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B77F564F-39C4-4703-AD08-DE25D1E043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189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94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b="1" dirty="0"/>
              <a:t>Mukund </a:t>
            </a:r>
            <a:r>
              <a:rPr lang="en-AU" b="1" dirty="0" err="1"/>
              <a:t>Narayanamurt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EO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/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4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045"/>
            <a:ext cx="9937104" cy="1205281"/>
            <a:chOff x="-15552" y="5661025"/>
            <a:chExt cx="9937104" cy="12052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712" y="5661025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3D17B874-D714-40EE-BCE5-7D1CA2FD60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85" y="5841360"/>
            <a:ext cx="858488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931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FOR AB V5">
  <a:themeElements>
    <a:clrScheme name="Custom 2">
      <a:dk1>
        <a:srgbClr val="7F7F7F"/>
      </a:dk1>
      <a:lt1>
        <a:sysClr val="window" lastClr="FFFFFF"/>
      </a:lt1>
      <a:dk2>
        <a:srgbClr val="E1000D"/>
      </a:dk2>
      <a:lt2>
        <a:srgbClr val="E5E5E5"/>
      </a:lt2>
      <a:accent1>
        <a:srgbClr val="7F7F7F"/>
      </a:accent1>
      <a:accent2>
        <a:srgbClr val="000000"/>
      </a:accent2>
      <a:accent3>
        <a:srgbClr val="009900"/>
      </a:accent3>
      <a:accent4>
        <a:srgbClr val="C00000"/>
      </a:accent4>
      <a:accent5>
        <a:srgbClr val="33CC33"/>
      </a:accent5>
      <a:accent6>
        <a:srgbClr val="E5001E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rgbClr val="000000"/>
            </a:solidFill>
            <a:latin typeface="Helvetica Neue"/>
            <a:cs typeface="Helvetica Neue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3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4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FOR AB V5.potx</Template>
  <TotalTime>1275</TotalTime>
  <Words>185</Words>
  <Application>Microsoft Office PowerPoint</Application>
  <PresentationFormat>A4 Paper (210x297 mm)</PresentationFormat>
  <Paragraphs>91</Paragraphs>
  <Slides>2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TEMPLATE FOR AB V5</vt:lpstr>
      <vt:lpstr>Office Theme</vt:lpstr>
      <vt:lpstr>33_Firm Format - English (US)</vt:lpstr>
      <vt:lpstr>34_Firm Format - English (US)</vt:lpstr>
      <vt:lpstr>1_Office Theme</vt:lpstr>
      <vt:lpstr>2_Office Theme</vt:lpstr>
      <vt:lpstr>3_Office Theme</vt:lpstr>
      <vt:lpstr>4_Office Theme</vt:lpstr>
      <vt:lpstr>think-cell Slide</vt:lpstr>
      <vt:lpstr>State of the Nation: ASEAN     International education: providing quality experiences to gain a competitive edge</vt:lpstr>
      <vt:lpstr> Mukund Narayanamurti CEO Asialink Business </vt:lpstr>
      <vt:lpstr> Stuart James Partner Ashurst   </vt:lpstr>
      <vt:lpstr> The Hon Bill Johnston MLA Minister for Mines and Petroleum; Commerce and Industrial Relations; Electoral Affairs; Asian Engagement </vt:lpstr>
      <vt:lpstr> Mukund Narayanamurti CEO Asialink Business </vt:lpstr>
      <vt:lpstr> Rod Jones Chair Study Perth  </vt:lpstr>
      <vt:lpstr> Mukund Narayanamurti CEO Asialink Business </vt:lpstr>
      <vt:lpstr> Robynne Walsh Principal Phoenix Academy  </vt:lpstr>
      <vt:lpstr> Mukund Narayanamurti CEO Asialink Business </vt:lpstr>
      <vt:lpstr> George Marantika Chairman, International Affairs and Relations Association of Private Higher Education Institutions in Indonesia  President Indonesia Australia Business Council, Yogyakarta  </vt:lpstr>
      <vt:lpstr>Indonesia - Australia Asean’s new emerging knowledge base economy</vt:lpstr>
      <vt:lpstr>ECOSYSTEM OF INDONESIA – AUSTRALIA Invention -Digital Innovation – Knowledge Economy</vt:lpstr>
      <vt:lpstr>Era of Disruption</vt:lpstr>
      <vt:lpstr>Priority Industry knowledge attractive to Higher Education</vt:lpstr>
      <vt:lpstr> Mukund Narayanamurti CEO Asialink Business </vt:lpstr>
      <vt:lpstr> Rob Delane Deputy Director General  (International Education, Trade and Investment)  Department of Jobs, Tourism, Science  and Innovation Government of Western Australia  </vt:lpstr>
      <vt:lpstr>PowerPoint Presentation</vt:lpstr>
      <vt:lpstr> Mukund Narayanamurti CEO Asialink Business </vt:lpstr>
      <vt:lpstr>ASEAN COUNTRY STARTER PACKS PRACTICAL GUIDES FOR AUSTRALIAN BUSINESSES</vt:lpstr>
      <vt:lpstr>Daniel High Economic Development Manager City of Perth</vt:lpstr>
      <vt:lpstr>State of the Nation: ASEAN     International education: providing quality experiences to gain a competitive edg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reen Scribble Freelancer</dc:creator>
  <cp:lastModifiedBy>Shirlin Liu</cp:lastModifiedBy>
  <cp:revision>143</cp:revision>
  <cp:lastPrinted>2018-03-06T05:00:40Z</cp:lastPrinted>
  <dcterms:created xsi:type="dcterms:W3CDTF">2014-11-11T03:32:16Z</dcterms:created>
  <dcterms:modified xsi:type="dcterms:W3CDTF">2018-03-09T03:25:22Z</dcterms:modified>
</cp:coreProperties>
</file>